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71" r:id="rId4"/>
    <p:sldMasterId id="2147484105" r:id="rId5"/>
    <p:sldMasterId id="2147484120" r:id="rId6"/>
    <p:sldMasterId id="2147484137" r:id="rId7"/>
    <p:sldMasterId id="2147484152" r:id="rId8"/>
    <p:sldMasterId id="2147484159" r:id="rId9"/>
    <p:sldMasterId id="2147484174" r:id="rId10"/>
  </p:sldMasterIdLst>
  <p:notesMasterIdLst>
    <p:notesMasterId r:id="rId12"/>
  </p:notesMasterIdLst>
  <p:handoutMasterIdLst>
    <p:handoutMasterId r:id="rId13"/>
  </p:handoutMasterIdLst>
  <p:sldIdLst>
    <p:sldId id="2345" r:id="rId11"/>
  </p:sldIdLst>
  <p:sldSz cx="12192000" cy="6858000"/>
  <p:notesSz cx="6797675" cy="9928225"/>
  <p:custDataLst>
    <p:tags r:id="rId14"/>
  </p:custDataLst>
  <p:defaultTextStyle>
    <a:defPPr>
      <a:defRPr lang="sv-SE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749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2343" userDrawn="1">
          <p15:clr>
            <a:srgbClr val="A4A3A4"/>
          </p15:clr>
        </p15:guide>
        <p15:guide id="6" pos="4747" userDrawn="1">
          <p15:clr>
            <a:srgbClr val="A4A3A4"/>
          </p15:clr>
        </p15:guide>
        <p15:guide id="7" orient="horz" pos="663" userDrawn="1">
          <p15:clr>
            <a:srgbClr val="A4A3A4"/>
          </p15:clr>
        </p15:guide>
        <p15:guide id="8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rämhagen" initials="DB" lastIdx="8" clrIdx="0">
    <p:extLst>
      <p:ext uri="{19B8F6BF-5375-455C-9EA6-DF929625EA0E}">
        <p15:presenceInfo xmlns:p15="http://schemas.microsoft.com/office/powerpoint/2012/main" userId="S-1-5-21-105273194-222902984-378935785-807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5763"/>
    <a:srgbClr val="EA6175"/>
    <a:srgbClr val="E1D1ED"/>
    <a:srgbClr val="5482AB"/>
    <a:srgbClr val="8246AF"/>
    <a:srgbClr val="C7C2BA"/>
    <a:srgbClr val="FFFFFF"/>
    <a:srgbClr val="87A7C4"/>
    <a:srgbClr val="7499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DC9989-3845-4CF8-AC3D-FEBC1A61AB61}" v="25" dt="2021-12-09T13:08:23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523" y="91"/>
      </p:cViewPr>
      <p:guideLst>
        <p:guide pos="3749"/>
        <p:guide orient="horz" pos="935"/>
        <p:guide pos="2343"/>
        <p:guide pos="4747"/>
        <p:guide orient="horz" pos="66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lly Larson" userId="37fde25d-cae6-4177-ae87-102b56a8428a" providerId="ADAL" clId="{08DC9989-3845-4CF8-AC3D-FEBC1A61AB61}"/>
    <pc:docChg chg="delSld modSld">
      <pc:chgData name="Molly Larson" userId="37fde25d-cae6-4177-ae87-102b56a8428a" providerId="ADAL" clId="{08DC9989-3845-4CF8-AC3D-FEBC1A61AB61}" dt="2021-12-09T13:08:20.495" v="8" actId="2711"/>
      <pc:docMkLst>
        <pc:docMk/>
      </pc:docMkLst>
      <pc:sldChg chg="del">
        <pc:chgData name="Molly Larson" userId="37fde25d-cae6-4177-ae87-102b56a8428a" providerId="ADAL" clId="{08DC9989-3845-4CF8-AC3D-FEBC1A61AB61}" dt="2021-12-07T09:35:36.778" v="1" actId="47"/>
        <pc:sldMkLst>
          <pc:docMk/>
          <pc:sldMk cId="275102741" sldId="793"/>
        </pc:sldMkLst>
      </pc:sldChg>
      <pc:sldChg chg="del">
        <pc:chgData name="Molly Larson" userId="37fde25d-cae6-4177-ae87-102b56a8428a" providerId="ADAL" clId="{08DC9989-3845-4CF8-AC3D-FEBC1A61AB61}" dt="2021-12-07T09:35:36.125" v="0" actId="47"/>
        <pc:sldMkLst>
          <pc:docMk/>
          <pc:sldMk cId="1821894115" sldId="797"/>
        </pc:sldMkLst>
      </pc:sldChg>
      <pc:sldChg chg="del">
        <pc:chgData name="Molly Larson" userId="37fde25d-cae6-4177-ae87-102b56a8428a" providerId="ADAL" clId="{08DC9989-3845-4CF8-AC3D-FEBC1A61AB61}" dt="2021-12-07T09:35:37.416" v="2" actId="47"/>
        <pc:sldMkLst>
          <pc:docMk/>
          <pc:sldMk cId="500907153" sldId="804"/>
        </pc:sldMkLst>
      </pc:sldChg>
      <pc:sldChg chg="del">
        <pc:chgData name="Molly Larson" userId="37fde25d-cae6-4177-ae87-102b56a8428a" providerId="ADAL" clId="{08DC9989-3845-4CF8-AC3D-FEBC1A61AB61}" dt="2021-12-07T09:35:39.192" v="3" actId="47"/>
        <pc:sldMkLst>
          <pc:docMk/>
          <pc:sldMk cId="2507459797" sldId="815"/>
        </pc:sldMkLst>
      </pc:sldChg>
      <pc:sldChg chg="del">
        <pc:chgData name="Molly Larson" userId="37fde25d-cae6-4177-ae87-102b56a8428a" providerId="ADAL" clId="{08DC9989-3845-4CF8-AC3D-FEBC1A61AB61}" dt="2021-12-07T09:35:41.654" v="4" actId="47"/>
        <pc:sldMkLst>
          <pc:docMk/>
          <pc:sldMk cId="2703418143" sldId="2337"/>
        </pc:sldMkLst>
      </pc:sldChg>
      <pc:sldChg chg="modSp mod modTransition modShow">
        <pc:chgData name="Molly Larson" userId="37fde25d-cae6-4177-ae87-102b56a8428a" providerId="ADAL" clId="{08DC9989-3845-4CF8-AC3D-FEBC1A61AB61}" dt="2021-12-09T13:08:20.495" v="8" actId="2711"/>
        <pc:sldMkLst>
          <pc:docMk/>
          <pc:sldMk cId="823526618" sldId="2345"/>
        </pc:sldMkLst>
        <pc:spChg chg="mod">
          <ac:chgData name="Molly Larson" userId="37fde25d-cae6-4177-ae87-102b56a8428a" providerId="ADAL" clId="{08DC9989-3845-4CF8-AC3D-FEBC1A61AB61}" dt="2021-12-09T13:08:20.495" v="8" actId="2711"/>
          <ac:spMkLst>
            <pc:docMk/>
            <pc:sldMk cId="823526618" sldId="2345"/>
            <ac:spMk id="6" creationId="{CA9C4FC0-9269-43D1-A3D1-ECCD4C7A84D2}"/>
          </ac:spMkLst>
        </pc:spChg>
        <pc:spChg chg="mod">
          <ac:chgData name="Molly Larson" userId="37fde25d-cae6-4177-ae87-102b56a8428a" providerId="ADAL" clId="{08DC9989-3845-4CF8-AC3D-FEBC1A61AB61}" dt="2021-12-09T13:08:20.495" v="8" actId="2711"/>
          <ac:spMkLst>
            <pc:docMk/>
            <pc:sldMk cId="823526618" sldId="2345"/>
            <ac:spMk id="8" creationId="{F31CEF02-3340-4BFE-B9B8-CCB0145F02E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5E611A07-F460-4779-A58F-0876A5D36407}" type="datetimeFigureOut">
              <a:rPr lang="sv-SE" smtClean="0"/>
              <a:t>2021-12-09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7B9851F3-6F55-456E-A60B-A4F862FDE70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913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2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531AC516-91A2-CC44-9418-EB7D5EF4C310}" type="datetimeFigureOut">
              <a:rPr lang="sv-SE" smtClean="0"/>
              <a:t>2021-12-0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2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CE0D5E75-B264-C74D-B55A-E6F957AB1FD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55886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Källor: 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200" i="0">
                <a:solidFill>
                  <a:schemeClr val="tx1"/>
                </a:solidFill>
              </a:rPr>
              <a:t>Roux-Dufort</a:t>
            </a:r>
            <a:r>
              <a:rPr lang="sv-SE" sz="1200" i="0" baseline="0">
                <a:solidFill>
                  <a:schemeClr val="tx1"/>
                </a:solidFill>
              </a:rPr>
              <a:t> (</a:t>
            </a:r>
            <a:r>
              <a:rPr lang="sv-SE" sz="1200" i="0">
                <a:solidFill>
                  <a:schemeClr val="tx1"/>
                </a:solidFill>
              </a:rPr>
              <a:t>2009)</a:t>
            </a:r>
            <a:r>
              <a:rPr lang="en-US" sz="1200" i="0">
                <a:solidFill>
                  <a:schemeClr val="tx1"/>
                </a:solidFill>
              </a:rPr>
              <a:t> The Devil Lies in Details! How Crises Build up Within Organizations. Hämtad:</a:t>
            </a:r>
            <a:r>
              <a:rPr lang="sv-SE" sz="1200" i="0">
                <a:solidFill>
                  <a:schemeClr val="tx1"/>
                </a:solidFill>
              </a:rPr>
              <a:t> </a:t>
            </a:r>
            <a:r>
              <a:rPr lang="sv-SE" i="0"/>
              <a:t>https://onlinelibrary-wiley-com.proxy.kib.ki.se/doi/epdf/10.1111/j.1468-5973.2009.00563.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/>
              <a:t>VGR/ISM-rapport</a:t>
            </a:r>
            <a:r>
              <a:rPr lang="sv-SE" baseline="0"/>
              <a:t> 19 </a:t>
            </a: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200" b="0">
                <a:solidFill>
                  <a:schemeClr val="bg1"/>
                </a:solidFill>
              </a:rPr>
              <a:t>Weick och Sutcliffe (2007) Managing the Unexpected:</a:t>
            </a:r>
            <a:r>
              <a:rPr lang="sv-SE" sz="1200" b="0" baseline="0">
                <a:solidFill>
                  <a:schemeClr val="bg1"/>
                </a:solidFill>
              </a:rPr>
              <a:t> Resilience Performance in an Age of Uncertainty, 2nd Ed. San Fransisco, CA: Jossey-Bass</a:t>
            </a:r>
            <a:endParaRPr lang="sv-SE" sz="1200" b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baseline="0"/>
          </a:p>
          <a:p>
            <a:pPr marL="0" indent="0">
              <a:buFont typeface="Arial" panose="020B0604020202020204" pitchFamily="34" charset="0"/>
              <a:buNone/>
            </a:pPr>
            <a:endParaRPr lang="sv-SE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0D5E75-B264-C74D-B55A-E6F957AB1FD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930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694729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</p:spTree>
    <p:extLst>
      <p:ext uri="{BB962C8B-B14F-4D97-AF65-F5344CB8AC3E}">
        <p14:creationId xmlns:p14="http://schemas.microsoft.com/office/powerpoint/2010/main" val="382829591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20760"/>
            <a:ext cx="7146000" cy="13336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9A1B675-00EC-4E85-B2E8-220BB0FDE45B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B63282-6719-44F9-BBB7-C74E60F09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4022099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6ECF341-DD30-40AF-AFEE-041F1321A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5072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F631A2-0DB8-4BD8-BED7-AC0EA6E70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075716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D81E941-88DB-463E-8904-3197058A1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27887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0C83AC8-D906-4FCF-B545-4763F7BB5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2081380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ärgko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2">
            <a:extLst>
              <a:ext uri="{FF2B5EF4-FFF2-40B4-BE49-F238E27FC236}">
                <a16:creationId xmlns:a16="http://schemas.microsoft.com/office/drawing/2014/main" id="{B0566F99-6542-4734-A895-CE3FB1E380E3}"/>
              </a:ext>
            </a:extLst>
          </p:cNvPr>
          <p:cNvSpPr txBox="1"/>
          <p:nvPr/>
        </p:nvSpPr>
        <p:spPr>
          <a:xfrm>
            <a:off x="975952" y="731280"/>
            <a:ext cx="1832018" cy="11592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v-SE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Euclid Circular A SemiBold" panose="020B0704000000000000" pitchFamily="34" charset="0"/>
                <a:cs typeface="Arial" panose="020B0604020202020204" pitchFamily="34" charset="0"/>
                <a:sym typeface="Helvetica Neue"/>
              </a:rPr>
              <a:t>Färgpalett</a:t>
            </a:r>
          </a:p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v-SE" sz="1600" b="0">
                <a:latin typeface="+mn-lt"/>
                <a:ea typeface="Euclid Circular A" panose="020B0504000000000000" pitchFamily="34" charset="0"/>
                <a:cs typeface="Arial" panose="020B0604020202020204" pitchFamily="34" charset="0"/>
              </a:rPr>
              <a:t>Ändra färg på en mallsida? Kopiera #-färgkoden här.</a:t>
            </a:r>
            <a:endParaRPr kumimoji="0" lang="sv-SE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Euclid Circular A" panose="020B0504000000000000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5" name="Grupp 39">
            <a:extLst>
              <a:ext uri="{FF2B5EF4-FFF2-40B4-BE49-F238E27FC236}">
                <a16:creationId xmlns:a16="http://schemas.microsoft.com/office/drawing/2014/main" id="{BDFF3D81-C5AD-485E-AFE0-E20E3E002836}"/>
              </a:ext>
            </a:extLst>
          </p:cNvPr>
          <p:cNvGrpSpPr/>
          <p:nvPr/>
        </p:nvGrpSpPr>
        <p:grpSpPr>
          <a:xfrm>
            <a:off x="944880" y="1037144"/>
            <a:ext cx="10302240" cy="4869438"/>
            <a:chOff x="1889760" y="2074288"/>
            <a:chExt cx="20604480" cy="9738875"/>
          </a:xfrm>
        </p:grpSpPr>
        <p:sp>
          <p:nvSpPr>
            <p:cNvPr id="6" name="Rektangel 42">
              <a:extLst>
                <a:ext uri="{FF2B5EF4-FFF2-40B4-BE49-F238E27FC236}">
                  <a16:creationId xmlns:a16="http://schemas.microsoft.com/office/drawing/2014/main" id="{E3C86491-142E-48D9-81F1-164AD28AF0EF}"/>
                </a:ext>
              </a:extLst>
            </p:cNvPr>
            <p:cNvSpPr/>
            <p:nvPr/>
          </p:nvSpPr>
          <p:spPr>
            <a:xfrm>
              <a:off x="6160770" y="2576990"/>
              <a:ext cx="3417570" cy="492442"/>
            </a:xfrm>
            <a:prstGeom prst="rect">
              <a:avLst/>
            </a:prstGeom>
            <a:solidFill>
              <a:srgbClr val="27234A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" name="textruta 43">
              <a:extLst>
                <a:ext uri="{FF2B5EF4-FFF2-40B4-BE49-F238E27FC236}">
                  <a16:creationId xmlns:a16="http://schemas.microsoft.com/office/drawing/2014/main" id="{C5AB0D60-4242-4C9C-B7BA-A0D421B3E793}"/>
                </a:ext>
              </a:extLst>
            </p:cNvPr>
            <p:cNvSpPr txBox="1"/>
            <p:nvPr/>
          </p:nvSpPr>
          <p:spPr>
            <a:xfrm>
              <a:off x="6863716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Natt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27234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6 94 36 40</a:t>
              </a:r>
            </a:p>
          </p:txBody>
        </p:sp>
        <p:sp>
          <p:nvSpPr>
            <p:cNvPr id="8" name="Rektangel 44">
              <a:extLst>
                <a:ext uri="{FF2B5EF4-FFF2-40B4-BE49-F238E27FC236}">
                  <a16:creationId xmlns:a16="http://schemas.microsoft.com/office/drawing/2014/main" id="{93160D2A-5760-4A7C-9C61-B174C1BEFC22}"/>
                </a:ext>
              </a:extLst>
            </p:cNvPr>
            <p:cNvSpPr/>
            <p:nvPr/>
          </p:nvSpPr>
          <p:spPr>
            <a:xfrm>
              <a:off x="19050000" y="2576990"/>
              <a:ext cx="3444240" cy="492442"/>
            </a:xfrm>
            <a:prstGeom prst="rect">
              <a:avLst/>
            </a:prstGeom>
            <a:solidFill>
              <a:srgbClr val="4D345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textruta 45">
              <a:extLst>
                <a:ext uri="{FF2B5EF4-FFF2-40B4-BE49-F238E27FC236}">
                  <a16:creationId xmlns:a16="http://schemas.microsoft.com/office/drawing/2014/main" id="{6AB83EAF-153C-45E5-8029-AB8C0BBBA721}"/>
                </a:ext>
              </a:extLst>
            </p:cNvPr>
            <p:cNvSpPr txBox="1"/>
            <p:nvPr/>
          </p:nvSpPr>
          <p:spPr>
            <a:xfrm>
              <a:off x="19785330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Djuplil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4D345F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8 85 32 25</a:t>
              </a:r>
            </a:p>
          </p:txBody>
        </p:sp>
        <p:sp>
          <p:nvSpPr>
            <p:cNvPr id="10" name="Rektangel 46">
              <a:extLst>
                <a:ext uri="{FF2B5EF4-FFF2-40B4-BE49-F238E27FC236}">
                  <a16:creationId xmlns:a16="http://schemas.microsoft.com/office/drawing/2014/main" id="{4536024D-839A-4DD7-81D9-4BFA355E8AF8}"/>
                </a:ext>
              </a:extLst>
            </p:cNvPr>
            <p:cNvSpPr/>
            <p:nvPr/>
          </p:nvSpPr>
          <p:spPr>
            <a:xfrm>
              <a:off x="10462260" y="2576990"/>
              <a:ext cx="3417570" cy="492442"/>
            </a:xfrm>
            <a:prstGeom prst="rect">
              <a:avLst/>
            </a:prstGeom>
            <a:solidFill>
              <a:srgbClr val="33336B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1" name="textruta 47">
              <a:extLst>
                <a:ext uri="{FF2B5EF4-FFF2-40B4-BE49-F238E27FC236}">
                  <a16:creationId xmlns:a16="http://schemas.microsoft.com/office/drawing/2014/main" id="{FFECF094-93E7-436C-9BD2-F15CB9F3C8B0}"/>
                </a:ext>
              </a:extLst>
            </p:cNvPr>
            <p:cNvSpPr txBox="1"/>
            <p:nvPr/>
          </p:nvSpPr>
          <p:spPr>
            <a:xfrm>
              <a:off x="10980420" y="2074288"/>
              <a:ext cx="247935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ymnings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3336b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5 89 25 14</a:t>
              </a:r>
            </a:p>
          </p:txBody>
        </p:sp>
        <p:sp>
          <p:nvSpPr>
            <p:cNvPr id="12" name="Rektangel 48">
              <a:extLst>
                <a:ext uri="{FF2B5EF4-FFF2-40B4-BE49-F238E27FC236}">
                  <a16:creationId xmlns:a16="http://schemas.microsoft.com/office/drawing/2014/main" id="{83394ADD-83F4-4707-8FDA-9C4854889A89}"/>
                </a:ext>
              </a:extLst>
            </p:cNvPr>
            <p:cNvSpPr/>
            <p:nvPr/>
          </p:nvSpPr>
          <p:spPr>
            <a:xfrm>
              <a:off x="14733270" y="2576990"/>
              <a:ext cx="3444240" cy="492442"/>
            </a:xfrm>
            <a:prstGeom prst="rect">
              <a:avLst/>
            </a:prstGeom>
            <a:solidFill>
              <a:srgbClr val="30488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3" name="textruta 49">
              <a:extLst>
                <a:ext uri="{FF2B5EF4-FFF2-40B4-BE49-F238E27FC236}">
                  <a16:creationId xmlns:a16="http://schemas.microsoft.com/office/drawing/2014/main" id="{5FFCD1FD-4F6F-4BA1-B7AB-16DBBA6D6FCE}"/>
                </a:ext>
              </a:extLst>
            </p:cNvPr>
            <p:cNvSpPr txBox="1"/>
            <p:nvPr/>
          </p:nvSpPr>
          <p:spPr>
            <a:xfrm>
              <a:off x="15278100" y="207428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Klar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0488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3 76 10 1</a:t>
              </a:r>
            </a:p>
          </p:txBody>
        </p:sp>
        <p:sp>
          <p:nvSpPr>
            <p:cNvPr id="14" name="Rektangel 50">
              <a:extLst>
                <a:ext uri="{FF2B5EF4-FFF2-40B4-BE49-F238E27FC236}">
                  <a16:creationId xmlns:a16="http://schemas.microsoft.com/office/drawing/2014/main" id="{F879382C-1A40-4D48-B120-6F167043E4A5}"/>
                </a:ext>
              </a:extLst>
            </p:cNvPr>
            <p:cNvSpPr/>
            <p:nvPr/>
          </p:nvSpPr>
          <p:spPr>
            <a:xfrm>
              <a:off x="1889760" y="6661310"/>
              <a:ext cx="3417570" cy="492442"/>
            </a:xfrm>
            <a:prstGeom prst="rect">
              <a:avLst/>
            </a:prstGeom>
            <a:solidFill>
              <a:srgbClr val="154E4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5" name="textruta 51">
              <a:extLst>
                <a:ext uri="{FF2B5EF4-FFF2-40B4-BE49-F238E27FC236}">
                  <a16:creationId xmlns:a16="http://schemas.microsoft.com/office/drawing/2014/main" id="{D9813EF4-18BB-44BB-B675-E9F83BC5ACF0}"/>
                </a:ext>
              </a:extLst>
            </p:cNvPr>
            <p:cNvSpPr txBox="1"/>
            <p:nvPr/>
          </p:nvSpPr>
          <p:spPr>
            <a:xfrm>
              <a:off x="2421254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ogs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154E4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7 42 64 46</a:t>
              </a:r>
            </a:p>
          </p:txBody>
        </p:sp>
        <p:sp>
          <p:nvSpPr>
            <p:cNvPr id="16" name="Rektangel 52">
              <a:extLst>
                <a:ext uri="{FF2B5EF4-FFF2-40B4-BE49-F238E27FC236}">
                  <a16:creationId xmlns:a16="http://schemas.microsoft.com/office/drawing/2014/main" id="{E14167BC-8DDD-4362-A19F-7395E5A43BFA}"/>
                </a:ext>
              </a:extLst>
            </p:cNvPr>
            <p:cNvSpPr/>
            <p:nvPr/>
          </p:nvSpPr>
          <p:spPr>
            <a:xfrm>
              <a:off x="10488930" y="6661310"/>
              <a:ext cx="3390900" cy="492442"/>
            </a:xfrm>
            <a:prstGeom prst="rect">
              <a:avLst/>
            </a:prstGeom>
            <a:solidFill>
              <a:srgbClr val="089086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textruta 53">
              <a:extLst>
                <a:ext uri="{FF2B5EF4-FFF2-40B4-BE49-F238E27FC236}">
                  <a16:creationId xmlns:a16="http://schemas.microsoft.com/office/drawing/2014/main" id="{3BB92740-3B79-4E60-8B6D-2649C66D14EE}"/>
                </a:ext>
              </a:extLst>
            </p:cNvPr>
            <p:cNvSpPr txBox="1"/>
            <p:nvPr/>
          </p:nvSpPr>
          <p:spPr>
            <a:xfrm>
              <a:off x="11007090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89086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1 20 51 4</a:t>
              </a:r>
            </a:p>
          </p:txBody>
        </p:sp>
        <p:sp>
          <p:nvSpPr>
            <p:cNvPr id="18" name="Rektangel 54">
              <a:extLst>
                <a:ext uri="{FF2B5EF4-FFF2-40B4-BE49-F238E27FC236}">
                  <a16:creationId xmlns:a16="http://schemas.microsoft.com/office/drawing/2014/main" id="{0C313DF5-BB6E-4086-ACED-00F44DF28A41}"/>
                </a:ext>
              </a:extLst>
            </p:cNvPr>
            <p:cNvSpPr/>
            <p:nvPr/>
          </p:nvSpPr>
          <p:spPr>
            <a:xfrm>
              <a:off x="14759940" y="6661310"/>
              <a:ext cx="3417570" cy="492442"/>
            </a:xfrm>
            <a:prstGeom prst="rect">
              <a:avLst/>
            </a:prstGeom>
            <a:solidFill>
              <a:srgbClr val="009BA2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" name="textruta 55">
              <a:extLst>
                <a:ext uri="{FF2B5EF4-FFF2-40B4-BE49-F238E27FC236}">
                  <a16:creationId xmlns:a16="http://schemas.microsoft.com/office/drawing/2014/main" id="{422380E3-2696-4C74-ABA9-A51895EE52EE}"/>
                </a:ext>
              </a:extLst>
            </p:cNvPr>
            <p:cNvSpPr txBox="1"/>
            <p:nvPr/>
          </p:nvSpPr>
          <p:spPr>
            <a:xfrm>
              <a:off x="15312388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09BA2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9 16 37 2</a:t>
              </a:r>
            </a:p>
          </p:txBody>
        </p:sp>
        <p:sp>
          <p:nvSpPr>
            <p:cNvPr id="20" name="Rektangel 56">
              <a:extLst>
                <a:ext uri="{FF2B5EF4-FFF2-40B4-BE49-F238E27FC236}">
                  <a16:creationId xmlns:a16="http://schemas.microsoft.com/office/drawing/2014/main" id="{71BDDEB9-031C-41FA-98CF-C17A23783A95}"/>
                </a:ext>
              </a:extLst>
            </p:cNvPr>
            <p:cNvSpPr/>
            <p:nvPr/>
          </p:nvSpPr>
          <p:spPr>
            <a:xfrm>
              <a:off x="6198870" y="6661310"/>
              <a:ext cx="3413760" cy="492442"/>
            </a:xfrm>
            <a:prstGeom prst="rect">
              <a:avLst/>
            </a:prstGeom>
            <a:solidFill>
              <a:srgbClr val="045C6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" name="textruta 57">
              <a:extLst>
                <a:ext uri="{FF2B5EF4-FFF2-40B4-BE49-F238E27FC236}">
                  <a16:creationId xmlns:a16="http://schemas.microsoft.com/office/drawing/2014/main" id="{B903D7E9-8A00-4C82-9060-7A1B05CBCD46}"/>
                </a:ext>
              </a:extLst>
            </p:cNvPr>
            <p:cNvSpPr txBox="1"/>
            <p:nvPr/>
          </p:nvSpPr>
          <p:spPr>
            <a:xfrm>
              <a:off x="6724442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Teal</a:t>
              </a:r>
              <a:endParaRPr lang="sv-SE" sz="1400" b="0">
                <a:solidFill>
                  <a:srgbClr val="FFFFFF"/>
                </a:solidFill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45C6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9 44 40 28</a:t>
              </a:r>
            </a:p>
          </p:txBody>
        </p:sp>
        <p:sp>
          <p:nvSpPr>
            <p:cNvPr id="22" name="Rektangel 58">
              <a:extLst>
                <a:ext uri="{FF2B5EF4-FFF2-40B4-BE49-F238E27FC236}">
                  <a16:creationId xmlns:a16="http://schemas.microsoft.com/office/drawing/2014/main" id="{E75F35EE-24EC-40BC-9B27-8F8F4EA6ABA2}"/>
                </a:ext>
              </a:extLst>
            </p:cNvPr>
            <p:cNvSpPr/>
            <p:nvPr/>
          </p:nvSpPr>
          <p:spPr>
            <a:xfrm>
              <a:off x="19023330" y="6661310"/>
              <a:ext cx="3417570" cy="492442"/>
            </a:xfrm>
            <a:prstGeom prst="rect">
              <a:avLst/>
            </a:prstGeom>
            <a:solidFill>
              <a:srgbClr val="AF4E5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3" name="textruta 59">
              <a:extLst>
                <a:ext uri="{FF2B5EF4-FFF2-40B4-BE49-F238E27FC236}">
                  <a16:creationId xmlns:a16="http://schemas.microsoft.com/office/drawing/2014/main" id="{B9DD04EB-1F43-4FE5-96FF-C425A1365198}"/>
                </a:ext>
              </a:extLst>
            </p:cNvPr>
            <p:cNvSpPr txBox="1"/>
            <p:nvPr/>
          </p:nvSpPr>
          <p:spPr>
            <a:xfrm>
              <a:off x="19554824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Roströd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AF4E5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24 77 54 15</a:t>
              </a:r>
            </a:p>
          </p:txBody>
        </p:sp>
        <p:sp>
          <p:nvSpPr>
            <p:cNvPr id="24" name="Rektangel 60">
              <a:extLst>
                <a:ext uri="{FF2B5EF4-FFF2-40B4-BE49-F238E27FC236}">
                  <a16:creationId xmlns:a16="http://schemas.microsoft.com/office/drawing/2014/main" id="{8BE8C53D-7EDC-43D3-8485-71E129706FA8}"/>
                </a:ext>
              </a:extLst>
            </p:cNvPr>
            <p:cNvSpPr/>
            <p:nvPr/>
          </p:nvSpPr>
          <p:spPr>
            <a:xfrm>
              <a:off x="1889760" y="10818019"/>
              <a:ext cx="3448050" cy="492442"/>
            </a:xfrm>
            <a:prstGeom prst="rect">
              <a:avLst/>
            </a:prstGeom>
            <a:solidFill>
              <a:srgbClr val="FDD1D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5" name="textruta 61">
              <a:extLst>
                <a:ext uri="{FF2B5EF4-FFF2-40B4-BE49-F238E27FC236}">
                  <a16:creationId xmlns:a16="http://schemas.microsoft.com/office/drawing/2014/main" id="{D8305694-BE8E-4273-AFF3-B39947FA4946}"/>
                </a:ext>
              </a:extLst>
            </p:cNvPr>
            <p:cNvSpPr txBox="1"/>
            <p:nvPr/>
          </p:nvSpPr>
          <p:spPr>
            <a:xfrm>
              <a:off x="2421254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Persikorosa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DD1D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25 13 0</a:t>
              </a:r>
            </a:p>
          </p:txBody>
        </p:sp>
        <p:sp>
          <p:nvSpPr>
            <p:cNvPr id="26" name="Rektangel 62">
              <a:extLst>
                <a:ext uri="{FF2B5EF4-FFF2-40B4-BE49-F238E27FC236}">
                  <a16:creationId xmlns:a16="http://schemas.microsoft.com/office/drawing/2014/main" id="{7FE652DC-7BF0-46F4-9BC6-73A159F6A605}"/>
                </a:ext>
              </a:extLst>
            </p:cNvPr>
            <p:cNvSpPr/>
            <p:nvPr/>
          </p:nvSpPr>
          <p:spPr>
            <a:xfrm>
              <a:off x="6160770" y="10818019"/>
              <a:ext cx="3413760" cy="492442"/>
            </a:xfrm>
            <a:prstGeom prst="rect">
              <a:avLst/>
            </a:prstGeom>
            <a:solidFill>
              <a:srgbClr val="E3E3E3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7" name="textruta 63">
              <a:extLst>
                <a:ext uri="{FF2B5EF4-FFF2-40B4-BE49-F238E27FC236}">
                  <a16:creationId xmlns:a16="http://schemas.microsoft.com/office/drawing/2014/main" id="{F7460CB3-D44F-42E7-BF4F-04FF0D968AED}"/>
                </a:ext>
              </a:extLst>
            </p:cNvPr>
            <p:cNvSpPr txBox="1"/>
            <p:nvPr/>
          </p:nvSpPr>
          <p:spPr>
            <a:xfrm>
              <a:off x="669036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Sten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3E3E3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13 9 11 0</a:t>
              </a:r>
            </a:p>
          </p:txBody>
        </p:sp>
        <p:sp>
          <p:nvSpPr>
            <p:cNvPr id="28" name="Rektangel 64">
              <a:extLst>
                <a:ext uri="{FF2B5EF4-FFF2-40B4-BE49-F238E27FC236}">
                  <a16:creationId xmlns:a16="http://schemas.microsoft.com/office/drawing/2014/main" id="{7C1F743C-54AC-4A06-94C9-5FA94D04C4CD}"/>
                </a:ext>
              </a:extLst>
            </p:cNvPr>
            <p:cNvSpPr/>
            <p:nvPr/>
          </p:nvSpPr>
          <p:spPr>
            <a:xfrm>
              <a:off x="10462260" y="10787539"/>
              <a:ext cx="3390900" cy="492442"/>
            </a:xfrm>
            <a:prstGeom prst="rect">
              <a:avLst/>
            </a:prstGeom>
            <a:solidFill>
              <a:srgbClr val="EFE9D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9" name="textruta 65">
              <a:extLst>
                <a:ext uri="{FF2B5EF4-FFF2-40B4-BE49-F238E27FC236}">
                  <a16:creationId xmlns:a16="http://schemas.microsoft.com/office/drawing/2014/main" id="{995BB69B-AE49-4A99-A705-1CAEA4FB3DF3}"/>
                </a:ext>
              </a:extLst>
            </p:cNvPr>
            <p:cNvSpPr txBox="1"/>
            <p:nvPr/>
          </p:nvSpPr>
          <p:spPr>
            <a:xfrm>
              <a:off x="10980420" y="1028483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Varm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FE9D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7 8 14 0</a:t>
              </a:r>
            </a:p>
          </p:txBody>
        </p:sp>
        <p:sp>
          <p:nvSpPr>
            <p:cNvPr id="30" name="Rektangel 66">
              <a:extLst>
                <a:ext uri="{FF2B5EF4-FFF2-40B4-BE49-F238E27FC236}">
                  <a16:creationId xmlns:a16="http://schemas.microsoft.com/office/drawing/2014/main" id="{5D6F6FE9-8B11-47B1-BD79-3DB939104478}"/>
                </a:ext>
              </a:extLst>
            </p:cNvPr>
            <p:cNvSpPr/>
            <p:nvPr/>
          </p:nvSpPr>
          <p:spPr>
            <a:xfrm>
              <a:off x="19050000" y="10818019"/>
              <a:ext cx="3390900" cy="492442"/>
            </a:xfrm>
            <a:prstGeom prst="rect">
              <a:avLst/>
            </a:prstGeom>
            <a:noFill/>
            <a:ln w="12700" cap="flat">
              <a:solidFill>
                <a:srgbClr val="D5D5D5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1" name="textruta 67">
              <a:extLst>
                <a:ext uri="{FF2B5EF4-FFF2-40B4-BE49-F238E27FC236}">
                  <a16:creationId xmlns:a16="http://schemas.microsoft.com/office/drawing/2014/main" id="{64FEDD19-DD8F-4CC3-9A5F-1FAF289DFCE5}"/>
                </a:ext>
              </a:extLst>
            </p:cNvPr>
            <p:cNvSpPr txBox="1"/>
            <p:nvPr/>
          </p:nvSpPr>
          <p:spPr>
            <a:xfrm>
              <a:off x="19568160" y="10311111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FFFF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0 0 0</a:t>
              </a:r>
            </a:p>
          </p:txBody>
        </p:sp>
        <p:sp>
          <p:nvSpPr>
            <p:cNvPr id="32" name="Rektangel 68">
              <a:extLst>
                <a:ext uri="{FF2B5EF4-FFF2-40B4-BE49-F238E27FC236}">
                  <a16:creationId xmlns:a16="http://schemas.microsoft.com/office/drawing/2014/main" id="{3C4C6C6D-D07C-4A18-8F58-1262DDA564AB}"/>
                </a:ext>
              </a:extLst>
            </p:cNvPr>
            <p:cNvSpPr/>
            <p:nvPr/>
          </p:nvSpPr>
          <p:spPr>
            <a:xfrm>
              <a:off x="14733270" y="10818019"/>
              <a:ext cx="3417570" cy="492442"/>
            </a:xfrm>
            <a:prstGeom prst="rect">
              <a:avLst/>
            </a:prstGeom>
            <a:solidFill>
              <a:srgbClr val="F7F5F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3" name="textruta 69">
              <a:extLst>
                <a:ext uri="{FF2B5EF4-FFF2-40B4-BE49-F238E27FC236}">
                  <a16:creationId xmlns:a16="http://schemas.microsoft.com/office/drawing/2014/main" id="{BF8F2470-F0F3-4522-8588-EE5575AB1359}"/>
                </a:ext>
              </a:extLst>
            </p:cNvPr>
            <p:cNvSpPr txBox="1"/>
            <p:nvPr/>
          </p:nvSpPr>
          <p:spPr>
            <a:xfrm>
              <a:off x="1527810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Kräm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7F5F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4 4 6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4162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746025"/>
            <a:ext cx="7796705" cy="17953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14AF3-57ED-40B2-B029-D50596E8DF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32" y="636810"/>
            <a:ext cx="2786400" cy="54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238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322190"/>
            <a:ext cx="7796705" cy="9489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2DCC2E31-9B7C-4173-840A-E3FE37A11D0E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B8EAB73-6B54-4644-90AE-F42D233DC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946021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30810000-F07B-4B40-BBF5-0AEABB13A604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6BBE496-89B8-4172-8469-3D6339130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sp>
        <p:nvSpPr>
          <p:cNvPr id="9" name="“Type a quote here.”">
            <a:extLst>
              <a:ext uri="{FF2B5EF4-FFF2-40B4-BE49-F238E27FC236}">
                <a16:creationId xmlns:a16="http://schemas.microsoft.com/office/drawing/2014/main" id="{1E48D5FA-DE18-4193-A6E2-F77C01DA9209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</p:spTree>
    <p:extLst>
      <p:ext uri="{BB962C8B-B14F-4D97-AF65-F5344CB8AC3E}">
        <p14:creationId xmlns:p14="http://schemas.microsoft.com/office/powerpoint/2010/main" val="285101244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CA180-D5F9-4B2B-B1AB-3B875289D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1040365-AF2E-4DD1-9068-99322A2B72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26066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270894"/>
            <a:ext cx="7796705" cy="94897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5388B6-9146-4962-B86F-FC536C0A0DE5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6D1854-0FC1-403B-86B4-B2EEEAF0D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08967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3953213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63146072-14B8-4D30-92C1-8A4AC3DEB61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AC3CB629-A935-4C14-86D7-17401DE425E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7328FE0B-DF46-4EC0-A1D1-051121E66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796534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592F750-F665-4091-A073-2B26BA880B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39926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25E7B1-DCCB-4999-BC42-B8512575CBD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6C21212-7C1F-4749-89D3-12390216C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8677529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16A2CEFA-D751-48FC-8537-5780947B6158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F4CD561-DD57-4EA1-A709-82E0BFE59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832193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72055"/>
            <a:ext cx="7146000" cy="13336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089DD18C-C6ED-49CF-9BBB-999B77A1C878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248FC67-211A-4DD7-8DFE-EC1BB7E2D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076008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40983D9-3A63-4250-B653-CB0E746B0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2751441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EE68B3D7-4C7C-41D7-AF0A-9AF60509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844369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79198E8-9820-4883-AEAE-77B55DC77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5863628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F62601B-347C-459E-848F-FA9E93BA1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870620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9801257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EAE207-3430-4549-A074-A342C1C170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3810" cy="50381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E8224E2-34E0-4E45-9125-5E6BA8331065}"/>
              </a:ext>
            </a:extLst>
          </p:cNvPr>
          <p:cNvSpPr/>
          <p:nvPr userDrawn="1"/>
        </p:nvSpPr>
        <p:spPr>
          <a:xfrm>
            <a:off x="2351584" y="1484784"/>
            <a:ext cx="6480720" cy="3240360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2039382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E415B6-73A7-45CC-8056-9D8F1C356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4000" cy="50400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8E7C7AEF-D324-4185-8247-3EE3D12E346D}"/>
              </a:ext>
            </a:extLst>
          </p:cNvPr>
          <p:cNvSpPr/>
          <p:nvPr userDrawn="1"/>
        </p:nvSpPr>
        <p:spPr>
          <a:xfrm>
            <a:off x="3143672" y="2924944"/>
            <a:ext cx="7920880" cy="1368152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6983334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EAE1A8-A5D7-46F5-9434-652A6A0C1F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3810" cy="50381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2BFAFAE-A9AB-419F-A667-243033D8E5E8}"/>
              </a:ext>
            </a:extLst>
          </p:cNvPr>
          <p:cNvSpPr/>
          <p:nvPr userDrawn="1"/>
        </p:nvSpPr>
        <p:spPr>
          <a:xfrm>
            <a:off x="3647728" y="2996952"/>
            <a:ext cx="4752528" cy="2232248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7826182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746025"/>
            <a:ext cx="7796705" cy="17953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14AF3-57ED-40B2-B029-D50596E8DF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32" y="636810"/>
            <a:ext cx="2786400" cy="54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23913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322190"/>
            <a:ext cx="7796705" cy="9489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2DCC2E31-9B7C-4173-840A-E3FE37A11D0E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B8EAB73-6B54-4644-90AE-F42D233DC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6379695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30810000-F07B-4B40-BBF5-0AEABB13A604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6BBE496-89B8-4172-8469-3D6339130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sp>
        <p:nvSpPr>
          <p:cNvPr id="9" name="“Type a quote here.”">
            <a:extLst>
              <a:ext uri="{FF2B5EF4-FFF2-40B4-BE49-F238E27FC236}">
                <a16:creationId xmlns:a16="http://schemas.microsoft.com/office/drawing/2014/main" id="{1E48D5FA-DE18-4193-A6E2-F77C01DA9209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</p:spTree>
    <p:extLst>
      <p:ext uri="{BB962C8B-B14F-4D97-AF65-F5344CB8AC3E}">
        <p14:creationId xmlns:p14="http://schemas.microsoft.com/office/powerpoint/2010/main" val="3465189043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CA180-D5F9-4B2B-B1AB-3B875289D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3565479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1040365-AF2E-4DD1-9068-99322A2B72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3576291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8784669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63146072-14B8-4D30-92C1-8A4AC3DEB61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AC3CB629-A935-4C14-86D7-17401DE425E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7328FE0B-DF46-4EC0-A1D1-051121E66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9403293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592F750-F665-4091-A073-2B26BA880B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672034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FC9CEB-B72A-4ED0-92D8-DA660390AE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2FE0FA-B7B2-45D3-AA1B-A41FE67EE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3062235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25E7B1-DCCB-4999-BC42-B8512575CBD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6C21212-7C1F-4749-89D3-12390216C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738290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16A2CEFA-D751-48FC-8537-5780947B6158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F4CD561-DD57-4EA1-A709-82E0BFE59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5062921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72055"/>
            <a:ext cx="7146000" cy="13336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089DD18C-C6ED-49CF-9BBB-999B77A1C878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248FC67-211A-4DD7-8DFE-EC1BB7E2D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9244645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40983D9-3A63-4250-B653-CB0E746B0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0284768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EE68B3D7-4C7C-41D7-AF0A-9AF60509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566329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79198E8-9820-4883-AEAE-77B55DC77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7655779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F62601B-347C-459E-848F-FA9E93BA1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080830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694729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10" name="Partsrådet_Logo_LeftAligned-White.png" descr="Partsrådet_Logo_LeftAligned-White.png">
            <a:extLst>
              <a:ext uri="{FF2B5EF4-FFF2-40B4-BE49-F238E27FC236}">
                <a16:creationId xmlns:a16="http://schemas.microsoft.com/office/drawing/2014/main" id="{B0B22340-55EE-48CD-A369-172802E32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332" y="636811"/>
            <a:ext cx="2786974" cy="54313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166967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270894"/>
            <a:ext cx="7796705" cy="94897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5388B6-9146-4962-B86F-FC536C0A0DE5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6D1854-0FC1-403B-86B4-B2EEEAF0D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9452111"/>
      </p:ext>
    </p:extLst>
  </p:cSld>
  <p:clrMapOvr>
    <a:masterClrMapping/>
  </p:clrMapOvr>
  <p:transition spd="med"/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8823294"/>
      </p:ext>
    </p:extLst>
  </p:cSld>
  <p:clrMapOvr>
    <a:masterClrMapping/>
  </p:clrMapOvr>
  <p:transition spd="med"/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256399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FC9CEB-B72A-4ED0-92D8-DA660390AE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3565479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2FE0FA-B7B2-45D3-AA1B-A41FE67EE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7311767"/>
      </p:ext>
    </p:extLst>
  </p:cSld>
  <p:clrMapOvr>
    <a:masterClrMapping/>
  </p:clrMapOvr>
  <p:transition spd="med"/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033176"/>
      </p:ext>
    </p:extLst>
  </p:cSld>
  <p:clrMapOvr>
    <a:masterClrMapping/>
  </p:clrMapOvr>
  <p:transition spd="med"/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Body Level One…">
            <a:extLst>
              <a:ext uri="{FF2B5EF4-FFF2-40B4-BE49-F238E27FC236}">
                <a16:creationId xmlns:a16="http://schemas.microsoft.com/office/drawing/2014/main" id="{906D06E3-1A4E-4D18-8BD9-877AD4D2AAD3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D657599-58DA-4648-8A70-DCBC3156B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8225224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7DC52-011A-466F-9223-B1D0D0972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0333759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2F7830-9892-472D-9338-AE9888EE65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24A059-758B-4A61-88D9-C0CF29C0B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7658794"/>
      </p:ext>
    </p:extLst>
  </p:cSld>
  <p:clrMapOvr>
    <a:masterClrMapping/>
  </p:clrMapOvr>
  <p:transition spd="med"/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53853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886941-ECD3-4FCA-B2A4-20405B79B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807017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20760"/>
            <a:ext cx="7146000" cy="13336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9A1B675-00EC-4E85-B2E8-220BB0FDE45B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B63282-6719-44F9-BBB7-C74E60F09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690B5143-D9E6-474F-827D-4AF04D87E570}"/>
              </a:ext>
            </a:extLst>
          </p:cNvPr>
          <p:cNvSpPr/>
          <p:nvPr userDrawn="1"/>
        </p:nvSpPr>
        <p:spPr>
          <a:xfrm>
            <a:off x="5850322" y="3276201"/>
            <a:ext cx="48500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clid Circular A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29276232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6ECF341-DD30-40AF-AFEE-041F1321A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1651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F631A2-0DB8-4BD8-BED7-AC0EA6E70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1079575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D81E941-88DB-463E-8904-3197058A1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358431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Body Level One…">
            <a:extLst>
              <a:ext uri="{FF2B5EF4-FFF2-40B4-BE49-F238E27FC236}">
                <a16:creationId xmlns:a16="http://schemas.microsoft.com/office/drawing/2014/main" id="{906D06E3-1A4E-4D18-8BD9-877AD4D2AAD3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D657599-58DA-4648-8A70-DCBC3156B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9770564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accent6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7493C6-A516-405A-9C65-32A693EF1B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4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7493C6-A516-405A-9C65-32A693EF1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Uppsala_universitet__DSF1814 (1).jpg" descr="Uppsala_universitet__DSF1814 (1).jpg">
            <a:extLst>
              <a:ext uri="{FF2B5EF4-FFF2-40B4-BE49-F238E27FC236}">
                <a16:creationId xmlns:a16="http://schemas.microsoft.com/office/drawing/2014/main" id="{BE38D9EF-ABAE-413C-A348-2EC58B819BB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5895" t="4112" r="25514" b="7547"/>
          <a:stretch>
            <a:fillRect/>
          </a:stretch>
        </p:blipFill>
        <p:spPr>
          <a:xfrm>
            <a:off x="-1405" y="-4910"/>
            <a:ext cx="5338148" cy="686781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En längre rubrik med bullet points">
            <a:extLst>
              <a:ext uri="{FF2B5EF4-FFF2-40B4-BE49-F238E27FC236}">
                <a16:creationId xmlns:a16="http://schemas.microsoft.com/office/drawing/2014/main" id="{24D5894E-F043-4021-B295-2792A530E7EF}"/>
              </a:ext>
            </a:extLst>
          </p:cNvPr>
          <p:cNvSpPr txBox="1"/>
          <p:nvPr/>
        </p:nvSpPr>
        <p:spPr>
          <a:xfrm>
            <a:off x="5885574" y="1428900"/>
            <a:ext cx="52066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b">
            <a:spAutoFit/>
          </a:bodyPr>
          <a:lstStyle>
            <a:lvl1pPr algn="l"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marL="0" marR="0" lvl="0" indent="0" algn="l" defTabSz="2286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0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SemiBold"/>
              </a:rPr>
              <a:t>Agenda</a:t>
            </a:r>
            <a:endParaRPr kumimoji="0" sz="4000" b="0" i="0" u="none" strike="noStrike" kern="0" cap="none" spc="-8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uclid Circular A"/>
              <a:sym typeface="Euclid Circular B SemiBold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D95FFDAE-0C67-4683-961C-980DF9143C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92182" y="643556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>
              <a:defRPr/>
            </a:pPr>
            <a:fld id="{230B0BE5-CE6F-47C0-8523-155D8C80793A}" type="slidenum">
              <a:rPr lang="sv-SE" smtClean="0"/>
              <a:pPr>
                <a:defRPr/>
              </a:pPr>
              <a:t>‹#›</a:t>
            </a:fld>
            <a:endParaRPr lang="sv-SE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5E19C94-876E-42EA-80D5-482E74AE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50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8" imgH="499" progId="TCLayout.ActiveDocument.1">
                  <p:embed/>
                </p:oleObj>
              </mc:Choice>
              <mc:Fallback>
                <p:oleObj name="think-cell Slide" r:id="rId7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5E19C94-876E-42EA-80D5-482E74AE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Uppsala_universitet__DSF1814 (1).jpg" descr="Uppsala_universitet__DSF1814 (1).jpg">
            <a:extLst>
              <a:ext uri="{FF2B5EF4-FFF2-40B4-BE49-F238E27FC236}">
                <a16:creationId xmlns:a16="http://schemas.microsoft.com/office/drawing/2014/main" id="{45582BBC-EA73-490F-9030-A827852624F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5895" t="4112" r="25514" b="7547"/>
          <a:stretch>
            <a:fillRect/>
          </a:stretch>
        </p:blipFill>
        <p:spPr>
          <a:xfrm>
            <a:off x="-1405" y="-4910"/>
            <a:ext cx="5338148" cy="6867819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En längre rubrik med bullet points">
            <a:extLst>
              <a:ext uri="{FF2B5EF4-FFF2-40B4-BE49-F238E27FC236}">
                <a16:creationId xmlns:a16="http://schemas.microsoft.com/office/drawing/2014/main" id="{5C7369F5-F3A9-4AEF-A506-2B5C18CE9C7F}"/>
              </a:ext>
            </a:extLst>
          </p:cNvPr>
          <p:cNvSpPr txBox="1"/>
          <p:nvPr userDrawn="1"/>
        </p:nvSpPr>
        <p:spPr>
          <a:xfrm>
            <a:off x="5885574" y="1428900"/>
            <a:ext cx="52066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5400" tIns="25400" rIns="25400" bIns="25400" anchor="b">
            <a:spAutoFit/>
          </a:bodyPr>
          <a:lstStyle>
            <a:lvl1pPr algn="l"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marL="0" marR="0" lvl="0" indent="0" algn="l" defTabSz="2286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0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SemiBold"/>
              </a:rPr>
              <a:t>Agenda</a:t>
            </a:r>
            <a:endParaRPr kumimoji="0" sz="4000" b="0" i="0" u="none" strike="noStrike" kern="0" cap="none" spc="-8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uclid Circular A"/>
              <a:sym typeface="Euclid Circular B SemiBold"/>
            </a:endParaRPr>
          </a:p>
        </p:txBody>
      </p:sp>
      <p:sp>
        <p:nvSpPr>
          <p:cNvPr id="16" name="Bullet point lorem de loro…">
            <a:extLst>
              <a:ext uri="{FF2B5EF4-FFF2-40B4-BE49-F238E27FC236}">
                <a16:creationId xmlns:a16="http://schemas.microsoft.com/office/drawing/2014/main" id="{C51D953D-8B0F-46FF-A5CA-976EA492FC71}"/>
              </a:ext>
            </a:extLst>
          </p:cNvPr>
          <p:cNvSpPr txBox="1"/>
          <p:nvPr userDrawn="1"/>
        </p:nvSpPr>
        <p:spPr>
          <a:xfrm>
            <a:off x="5885574" y="2586016"/>
            <a:ext cx="5206608" cy="3297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5400" tIns="25400" rIns="25400" bIns="25400">
            <a:spAutoFit/>
          </a:bodyPr>
          <a:lstStyle/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Introduktion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idigt agerande – en nyckelfaktor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idiga tecken på stress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Psykologisk trygghet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re steg för att fånga tidiga tecken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Sammanfattning och avslut</a:t>
            </a:r>
          </a:p>
        </p:txBody>
      </p:sp>
    </p:spTree>
    <p:extLst>
      <p:ext uri="{BB962C8B-B14F-4D97-AF65-F5344CB8AC3E}">
        <p14:creationId xmlns:p14="http://schemas.microsoft.com/office/powerpoint/2010/main" val="25808285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ärgko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2">
            <a:extLst>
              <a:ext uri="{FF2B5EF4-FFF2-40B4-BE49-F238E27FC236}">
                <a16:creationId xmlns:a16="http://schemas.microsoft.com/office/drawing/2014/main" id="{B0566F99-6542-4734-A895-CE3FB1E380E3}"/>
              </a:ext>
            </a:extLst>
          </p:cNvPr>
          <p:cNvSpPr txBox="1"/>
          <p:nvPr/>
        </p:nvSpPr>
        <p:spPr>
          <a:xfrm>
            <a:off x="975952" y="731280"/>
            <a:ext cx="1832018" cy="11592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v-SE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Euclid Circular A SemiBold" panose="020B0704000000000000" pitchFamily="34" charset="0"/>
                <a:cs typeface="Arial" panose="020B0604020202020204" pitchFamily="34" charset="0"/>
                <a:sym typeface="Helvetica Neue"/>
              </a:rPr>
              <a:t>Färgpalett</a:t>
            </a:r>
          </a:p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v-SE" sz="1600" b="0">
                <a:latin typeface="+mn-lt"/>
                <a:ea typeface="Euclid Circular A" panose="020B0504000000000000" pitchFamily="34" charset="0"/>
                <a:cs typeface="Arial" panose="020B0604020202020204" pitchFamily="34" charset="0"/>
              </a:rPr>
              <a:t>Ändra färg på en mallsida? Kopiera #-färgkoden här.</a:t>
            </a:r>
            <a:endParaRPr kumimoji="0" lang="sv-SE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Euclid Circular A" panose="020B0504000000000000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5" name="Grupp 39">
            <a:extLst>
              <a:ext uri="{FF2B5EF4-FFF2-40B4-BE49-F238E27FC236}">
                <a16:creationId xmlns:a16="http://schemas.microsoft.com/office/drawing/2014/main" id="{BDFF3D81-C5AD-485E-AFE0-E20E3E002836}"/>
              </a:ext>
            </a:extLst>
          </p:cNvPr>
          <p:cNvGrpSpPr/>
          <p:nvPr/>
        </p:nvGrpSpPr>
        <p:grpSpPr>
          <a:xfrm>
            <a:off x="944880" y="1037144"/>
            <a:ext cx="10302240" cy="4869438"/>
            <a:chOff x="1889760" y="2074288"/>
            <a:chExt cx="20604480" cy="9738875"/>
          </a:xfrm>
        </p:grpSpPr>
        <p:sp>
          <p:nvSpPr>
            <p:cNvPr id="6" name="Rektangel 42">
              <a:extLst>
                <a:ext uri="{FF2B5EF4-FFF2-40B4-BE49-F238E27FC236}">
                  <a16:creationId xmlns:a16="http://schemas.microsoft.com/office/drawing/2014/main" id="{E3C86491-142E-48D9-81F1-164AD28AF0EF}"/>
                </a:ext>
              </a:extLst>
            </p:cNvPr>
            <p:cNvSpPr/>
            <p:nvPr/>
          </p:nvSpPr>
          <p:spPr>
            <a:xfrm>
              <a:off x="6160770" y="2576990"/>
              <a:ext cx="3417570" cy="492442"/>
            </a:xfrm>
            <a:prstGeom prst="rect">
              <a:avLst/>
            </a:prstGeom>
            <a:solidFill>
              <a:srgbClr val="27234A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" name="textruta 43">
              <a:extLst>
                <a:ext uri="{FF2B5EF4-FFF2-40B4-BE49-F238E27FC236}">
                  <a16:creationId xmlns:a16="http://schemas.microsoft.com/office/drawing/2014/main" id="{C5AB0D60-4242-4C9C-B7BA-A0D421B3E793}"/>
                </a:ext>
              </a:extLst>
            </p:cNvPr>
            <p:cNvSpPr txBox="1"/>
            <p:nvPr/>
          </p:nvSpPr>
          <p:spPr>
            <a:xfrm>
              <a:off x="6863716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Natt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27234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6 94 36 40</a:t>
              </a:r>
            </a:p>
          </p:txBody>
        </p:sp>
        <p:sp>
          <p:nvSpPr>
            <p:cNvPr id="8" name="Rektangel 44">
              <a:extLst>
                <a:ext uri="{FF2B5EF4-FFF2-40B4-BE49-F238E27FC236}">
                  <a16:creationId xmlns:a16="http://schemas.microsoft.com/office/drawing/2014/main" id="{93160D2A-5760-4A7C-9C61-B174C1BEFC22}"/>
                </a:ext>
              </a:extLst>
            </p:cNvPr>
            <p:cNvSpPr/>
            <p:nvPr/>
          </p:nvSpPr>
          <p:spPr>
            <a:xfrm>
              <a:off x="19050000" y="2576990"/>
              <a:ext cx="3444240" cy="492442"/>
            </a:xfrm>
            <a:prstGeom prst="rect">
              <a:avLst/>
            </a:prstGeom>
            <a:solidFill>
              <a:srgbClr val="4D345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textruta 45">
              <a:extLst>
                <a:ext uri="{FF2B5EF4-FFF2-40B4-BE49-F238E27FC236}">
                  <a16:creationId xmlns:a16="http://schemas.microsoft.com/office/drawing/2014/main" id="{6AB83EAF-153C-45E5-8029-AB8C0BBBA721}"/>
                </a:ext>
              </a:extLst>
            </p:cNvPr>
            <p:cNvSpPr txBox="1"/>
            <p:nvPr/>
          </p:nvSpPr>
          <p:spPr>
            <a:xfrm>
              <a:off x="19785330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Djuplil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4D345F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8 85 32 25</a:t>
              </a:r>
            </a:p>
          </p:txBody>
        </p:sp>
        <p:sp>
          <p:nvSpPr>
            <p:cNvPr id="10" name="Rektangel 46">
              <a:extLst>
                <a:ext uri="{FF2B5EF4-FFF2-40B4-BE49-F238E27FC236}">
                  <a16:creationId xmlns:a16="http://schemas.microsoft.com/office/drawing/2014/main" id="{4536024D-839A-4DD7-81D9-4BFA355E8AF8}"/>
                </a:ext>
              </a:extLst>
            </p:cNvPr>
            <p:cNvSpPr/>
            <p:nvPr/>
          </p:nvSpPr>
          <p:spPr>
            <a:xfrm>
              <a:off x="10462260" y="2576990"/>
              <a:ext cx="3417570" cy="492442"/>
            </a:xfrm>
            <a:prstGeom prst="rect">
              <a:avLst/>
            </a:prstGeom>
            <a:solidFill>
              <a:srgbClr val="33336B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1" name="textruta 47">
              <a:extLst>
                <a:ext uri="{FF2B5EF4-FFF2-40B4-BE49-F238E27FC236}">
                  <a16:creationId xmlns:a16="http://schemas.microsoft.com/office/drawing/2014/main" id="{FFECF094-93E7-436C-9BD2-F15CB9F3C8B0}"/>
                </a:ext>
              </a:extLst>
            </p:cNvPr>
            <p:cNvSpPr txBox="1"/>
            <p:nvPr/>
          </p:nvSpPr>
          <p:spPr>
            <a:xfrm>
              <a:off x="10980420" y="2074288"/>
              <a:ext cx="247935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ymnings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3336b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5 89 25 14</a:t>
              </a:r>
            </a:p>
          </p:txBody>
        </p:sp>
        <p:sp>
          <p:nvSpPr>
            <p:cNvPr id="12" name="Rektangel 48">
              <a:extLst>
                <a:ext uri="{FF2B5EF4-FFF2-40B4-BE49-F238E27FC236}">
                  <a16:creationId xmlns:a16="http://schemas.microsoft.com/office/drawing/2014/main" id="{83394ADD-83F4-4707-8FDA-9C4854889A89}"/>
                </a:ext>
              </a:extLst>
            </p:cNvPr>
            <p:cNvSpPr/>
            <p:nvPr/>
          </p:nvSpPr>
          <p:spPr>
            <a:xfrm>
              <a:off x="14733270" y="2576990"/>
              <a:ext cx="3444240" cy="492442"/>
            </a:xfrm>
            <a:prstGeom prst="rect">
              <a:avLst/>
            </a:prstGeom>
            <a:solidFill>
              <a:srgbClr val="30488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3" name="textruta 49">
              <a:extLst>
                <a:ext uri="{FF2B5EF4-FFF2-40B4-BE49-F238E27FC236}">
                  <a16:creationId xmlns:a16="http://schemas.microsoft.com/office/drawing/2014/main" id="{5FFCD1FD-4F6F-4BA1-B7AB-16DBBA6D6FCE}"/>
                </a:ext>
              </a:extLst>
            </p:cNvPr>
            <p:cNvSpPr txBox="1"/>
            <p:nvPr/>
          </p:nvSpPr>
          <p:spPr>
            <a:xfrm>
              <a:off x="15278100" y="207428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Klar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0488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3 76 10 1</a:t>
              </a:r>
            </a:p>
          </p:txBody>
        </p:sp>
        <p:sp>
          <p:nvSpPr>
            <p:cNvPr id="14" name="Rektangel 50">
              <a:extLst>
                <a:ext uri="{FF2B5EF4-FFF2-40B4-BE49-F238E27FC236}">
                  <a16:creationId xmlns:a16="http://schemas.microsoft.com/office/drawing/2014/main" id="{F879382C-1A40-4D48-B120-6F167043E4A5}"/>
                </a:ext>
              </a:extLst>
            </p:cNvPr>
            <p:cNvSpPr/>
            <p:nvPr/>
          </p:nvSpPr>
          <p:spPr>
            <a:xfrm>
              <a:off x="1889760" y="6661310"/>
              <a:ext cx="3417570" cy="492442"/>
            </a:xfrm>
            <a:prstGeom prst="rect">
              <a:avLst/>
            </a:prstGeom>
            <a:solidFill>
              <a:srgbClr val="154E4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5" name="textruta 51">
              <a:extLst>
                <a:ext uri="{FF2B5EF4-FFF2-40B4-BE49-F238E27FC236}">
                  <a16:creationId xmlns:a16="http://schemas.microsoft.com/office/drawing/2014/main" id="{D9813EF4-18BB-44BB-B675-E9F83BC5ACF0}"/>
                </a:ext>
              </a:extLst>
            </p:cNvPr>
            <p:cNvSpPr txBox="1"/>
            <p:nvPr/>
          </p:nvSpPr>
          <p:spPr>
            <a:xfrm>
              <a:off x="2421254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ogs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154E4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7 42 64 46</a:t>
              </a:r>
            </a:p>
          </p:txBody>
        </p:sp>
        <p:sp>
          <p:nvSpPr>
            <p:cNvPr id="16" name="Rektangel 52">
              <a:extLst>
                <a:ext uri="{FF2B5EF4-FFF2-40B4-BE49-F238E27FC236}">
                  <a16:creationId xmlns:a16="http://schemas.microsoft.com/office/drawing/2014/main" id="{E14167BC-8DDD-4362-A19F-7395E5A43BFA}"/>
                </a:ext>
              </a:extLst>
            </p:cNvPr>
            <p:cNvSpPr/>
            <p:nvPr/>
          </p:nvSpPr>
          <p:spPr>
            <a:xfrm>
              <a:off x="10488930" y="6661310"/>
              <a:ext cx="3390900" cy="492442"/>
            </a:xfrm>
            <a:prstGeom prst="rect">
              <a:avLst/>
            </a:prstGeom>
            <a:solidFill>
              <a:srgbClr val="089086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textruta 53">
              <a:extLst>
                <a:ext uri="{FF2B5EF4-FFF2-40B4-BE49-F238E27FC236}">
                  <a16:creationId xmlns:a16="http://schemas.microsoft.com/office/drawing/2014/main" id="{3BB92740-3B79-4E60-8B6D-2649C66D14EE}"/>
                </a:ext>
              </a:extLst>
            </p:cNvPr>
            <p:cNvSpPr txBox="1"/>
            <p:nvPr/>
          </p:nvSpPr>
          <p:spPr>
            <a:xfrm>
              <a:off x="11007090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89086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1 20 51 4</a:t>
              </a:r>
            </a:p>
          </p:txBody>
        </p:sp>
        <p:sp>
          <p:nvSpPr>
            <p:cNvPr id="18" name="Rektangel 54">
              <a:extLst>
                <a:ext uri="{FF2B5EF4-FFF2-40B4-BE49-F238E27FC236}">
                  <a16:creationId xmlns:a16="http://schemas.microsoft.com/office/drawing/2014/main" id="{0C313DF5-BB6E-4086-ACED-00F44DF28A41}"/>
                </a:ext>
              </a:extLst>
            </p:cNvPr>
            <p:cNvSpPr/>
            <p:nvPr/>
          </p:nvSpPr>
          <p:spPr>
            <a:xfrm>
              <a:off x="14759940" y="6661310"/>
              <a:ext cx="3417570" cy="492442"/>
            </a:xfrm>
            <a:prstGeom prst="rect">
              <a:avLst/>
            </a:prstGeom>
            <a:solidFill>
              <a:srgbClr val="009BA2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" name="textruta 55">
              <a:extLst>
                <a:ext uri="{FF2B5EF4-FFF2-40B4-BE49-F238E27FC236}">
                  <a16:creationId xmlns:a16="http://schemas.microsoft.com/office/drawing/2014/main" id="{422380E3-2696-4C74-ABA9-A51895EE52EE}"/>
                </a:ext>
              </a:extLst>
            </p:cNvPr>
            <p:cNvSpPr txBox="1"/>
            <p:nvPr/>
          </p:nvSpPr>
          <p:spPr>
            <a:xfrm>
              <a:off x="15312388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09BA2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9 16 37 2</a:t>
              </a:r>
            </a:p>
          </p:txBody>
        </p:sp>
        <p:sp>
          <p:nvSpPr>
            <p:cNvPr id="20" name="Rektangel 56">
              <a:extLst>
                <a:ext uri="{FF2B5EF4-FFF2-40B4-BE49-F238E27FC236}">
                  <a16:creationId xmlns:a16="http://schemas.microsoft.com/office/drawing/2014/main" id="{71BDDEB9-031C-41FA-98CF-C17A23783A95}"/>
                </a:ext>
              </a:extLst>
            </p:cNvPr>
            <p:cNvSpPr/>
            <p:nvPr/>
          </p:nvSpPr>
          <p:spPr>
            <a:xfrm>
              <a:off x="6198870" y="6661310"/>
              <a:ext cx="3413760" cy="492442"/>
            </a:xfrm>
            <a:prstGeom prst="rect">
              <a:avLst/>
            </a:prstGeom>
            <a:solidFill>
              <a:srgbClr val="045C6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" name="textruta 57">
              <a:extLst>
                <a:ext uri="{FF2B5EF4-FFF2-40B4-BE49-F238E27FC236}">
                  <a16:creationId xmlns:a16="http://schemas.microsoft.com/office/drawing/2014/main" id="{B903D7E9-8A00-4C82-9060-7A1B05CBCD46}"/>
                </a:ext>
              </a:extLst>
            </p:cNvPr>
            <p:cNvSpPr txBox="1"/>
            <p:nvPr/>
          </p:nvSpPr>
          <p:spPr>
            <a:xfrm>
              <a:off x="6724442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Teal</a:t>
              </a:r>
              <a:endParaRPr lang="sv-SE" sz="1400" b="0">
                <a:solidFill>
                  <a:srgbClr val="FFFFFF"/>
                </a:solidFill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45C6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9 44 40 28</a:t>
              </a:r>
            </a:p>
          </p:txBody>
        </p:sp>
        <p:sp>
          <p:nvSpPr>
            <p:cNvPr id="22" name="Rektangel 58">
              <a:extLst>
                <a:ext uri="{FF2B5EF4-FFF2-40B4-BE49-F238E27FC236}">
                  <a16:creationId xmlns:a16="http://schemas.microsoft.com/office/drawing/2014/main" id="{E75F35EE-24EC-40BC-9B27-8F8F4EA6ABA2}"/>
                </a:ext>
              </a:extLst>
            </p:cNvPr>
            <p:cNvSpPr/>
            <p:nvPr/>
          </p:nvSpPr>
          <p:spPr>
            <a:xfrm>
              <a:off x="19023330" y="6661310"/>
              <a:ext cx="3417570" cy="492442"/>
            </a:xfrm>
            <a:prstGeom prst="rect">
              <a:avLst/>
            </a:prstGeom>
            <a:solidFill>
              <a:srgbClr val="AF4E5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3" name="textruta 59">
              <a:extLst>
                <a:ext uri="{FF2B5EF4-FFF2-40B4-BE49-F238E27FC236}">
                  <a16:creationId xmlns:a16="http://schemas.microsoft.com/office/drawing/2014/main" id="{B9DD04EB-1F43-4FE5-96FF-C425A1365198}"/>
                </a:ext>
              </a:extLst>
            </p:cNvPr>
            <p:cNvSpPr txBox="1"/>
            <p:nvPr/>
          </p:nvSpPr>
          <p:spPr>
            <a:xfrm>
              <a:off x="19554824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Roströd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AF4E5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24 77 54 15</a:t>
              </a:r>
            </a:p>
          </p:txBody>
        </p:sp>
        <p:sp>
          <p:nvSpPr>
            <p:cNvPr id="24" name="Rektangel 60">
              <a:extLst>
                <a:ext uri="{FF2B5EF4-FFF2-40B4-BE49-F238E27FC236}">
                  <a16:creationId xmlns:a16="http://schemas.microsoft.com/office/drawing/2014/main" id="{8BE8C53D-7EDC-43D3-8485-71E129706FA8}"/>
                </a:ext>
              </a:extLst>
            </p:cNvPr>
            <p:cNvSpPr/>
            <p:nvPr/>
          </p:nvSpPr>
          <p:spPr>
            <a:xfrm>
              <a:off x="1889760" y="10818019"/>
              <a:ext cx="3448050" cy="492442"/>
            </a:xfrm>
            <a:prstGeom prst="rect">
              <a:avLst/>
            </a:prstGeom>
            <a:solidFill>
              <a:srgbClr val="FDD1D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5" name="textruta 61">
              <a:extLst>
                <a:ext uri="{FF2B5EF4-FFF2-40B4-BE49-F238E27FC236}">
                  <a16:creationId xmlns:a16="http://schemas.microsoft.com/office/drawing/2014/main" id="{D8305694-BE8E-4273-AFF3-B39947FA4946}"/>
                </a:ext>
              </a:extLst>
            </p:cNvPr>
            <p:cNvSpPr txBox="1"/>
            <p:nvPr/>
          </p:nvSpPr>
          <p:spPr>
            <a:xfrm>
              <a:off x="2421254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Persikorosa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DD1D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25 13 0</a:t>
              </a:r>
            </a:p>
          </p:txBody>
        </p:sp>
        <p:sp>
          <p:nvSpPr>
            <p:cNvPr id="26" name="Rektangel 62">
              <a:extLst>
                <a:ext uri="{FF2B5EF4-FFF2-40B4-BE49-F238E27FC236}">
                  <a16:creationId xmlns:a16="http://schemas.microsoft.com/office/drawing/2014/main" id="{7FE652DC-7BF0-46F4-9BC6-73A159F6A605}"/>
                </a:ext>
              </a:extLst>
            </p:cNvPr>
            <p:cNvSpPr/>
            <p:nvPr/>
          </p:nvSpPr>
          <p:spPr>
            <a:xfrm>
              <a:off x="6160770" y="10818019"/>
              <a:ext cx="3413760" cy="492442"/>
            </a:xfrm>
            <a:prstGeom prst="rect">
              <a:avLst/>
            </a:prstGeom>
            <a:solidFill>
              <a:srgbClr val="E3E3E3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7" name="textruta 63">
              <a:extLst>
                <a:ext uri="{FF2B5EF4-FFF2-40B4-BE49-F238E27FC236}">
                  <a16:creationId xmlns:a16="http://schemas.microsoft.com/office/drawing/2014/main" id="{F7460CB3-D44F-42E7-BF4F-04FF0D968AED}"/>
                </a:ext>
              </a:extLst>
            </p:cNvPr>
            <p:cNvSpPr txBox="1"/>
            <p:nvPr/>
          </p:nvSpPr>
          <p:spPr>
            <a:xfrm>
              <a:off x="669036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Sten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3E3E3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13 9 11 0</a:t>
              </a:r>
            </a:p>
          </p:txBody>
        </p:sp>
        <p:sp>
          <p:nvSpPr>
            <p:cNvPr id="28" name="Rektangel 64">
              <a:extLst>
                <a:ext uri="{FF2B5EF4-FFF2-40B4-BE49-F238E27FC236}">
                  <a16:creationId xmlns:a16="http://schemas.microsoft.com/office/drawing/2014/main" id="{7C1F743C-54AC-4A06-94C9-5FA94D04C4CD}"/>
                </a:ext>
              </a:extLst>
            </p:cNvPr>
            <p:cNvSpPr/>
            <p:nvPr/>
          </p:nvSpPr>
          <p:spPr>
            <a:xfrm>
              <a:off x="10462260" y="10787539"/>
              <a:ext cx="3390900" cy="492442"/>
            </a:xfrm>
            <a:prstGeom prst="rect">
              <a:avLst/>
            </a:prstGeom>
            <a:solidFill>
              <a:srgbClr val="EFE9D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9" name="textruta 65">
              <a:extLst>
                <a:ext uri="{FF2B5EF4-FFF2-40B4-BE49-F238E27FC236}">
                  <a16:creationId xmlns:a16="http://schemas.microsoft.com/office/drawing/2014/main" id="{995BB69B-AE49-4A99-A705-1CAEA4FB3DF3}"/>
                </a:ext>
              </a:extLst>
            </p:cNvPr>
            <p:cNvSpPr txBox="1"/>
            <p:nvPr/>
          </p:nvSpPr>
          <p:spPr>
            <a:xfrm>
              <a:off x="10980420" y="1028483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Varm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FE9D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7 8 14 0</a:t>
              </a:r>
            </a:p>
          </p:txBody>
        </p:sp>
        <p:sp>
          <p:nvSpPr>
            <p:cNvPr id="30" name="Rektangel 66">
              <a:extLst>
                <a:ext uri="{FF2B5EF4-FFF2-40B4-BE49-F238E27FC236}">
                  <a16:creationId xmlns:a16="http://schemas.microsoft.com/office/drawing/2014/main" id="{5D6F6FE9-8B11-47B1-BD79-3DB939104478}"/>
                </a:ext>
              </a:extLst>
            </p:cNvPr>
            <p:cNvSpPr/>
            <p:nvPr/>
          </p:nvSpPr>
          <p:spPr>
            <a:xfrm>
              <a:off x="19050000" y="10818019"/>
              <a:ext cx="3390900" cy="492442"/>
            </a:xfrm>
            <a:prstGeom prst="rect">
              <a:avLst/>
            </a:prstGeom>
            <a:noFill/>
            <a:ln w="12700" cap="flat">
              <a:solidFill>
                <a:srgbClr val="D5D5D5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1" name="textruta 67">
              <a:extLst>
                <a:ext uri="{FF2B5EF4-FFF2-40B4-BE49-F238E27FC236}">
                  <a16:creationId xmlns:a16="http://schemas.microsoft.com/office/drawing/2014/main" id="{64FEDD19-DD8F-4CC3-9A5F-1FAF289DFCE5}"/>
                </a:ext>
              </a:extLst>
            </p:cNvPr>
            <p:cNvSpPr txBox="1"/>
            <p:nvPr/>
          </p:nvSpPr>
          <p:spPr>
            <a:xfrm>
              <a:off x="19568160" y="10311111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FFFF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0 0 0</a:t>
              </a:r>
            </a:p>
          </p:txBody>
        </p:sp>
        <p:sp>
          <p:nvSpPr>
            <p:cNvPr id="32" name="Rektangel 68">
              <a:extLst>
                <a:ext uri="{FF2B5EF4-FFF2-40B4-BE49-F238E27FC236}">
                  <a16:creationId xmlns:a16="http://schemas.microsoft.com/office/drawing/2014/main" id="{3C4C6C6D-D07C-4A18-8F58-1262DDA564AB}"/>
                </a:ext>
              </a:extLst>
            </p:cNvPr>
            <p:cNvSpPr/>
            <p:nvPr/>
          </p:nvSpPr>
          <p:spPr>
            <a:xfrm>
              <a:off x="14733270" y="10818019"/>
              <a:ext cx="3417570" cy="492442"/>
            </a:xfrm>
            <a:prstGeom prst="rect">
              <a:avLst/>
            </a:prstGeom>
            <a:solidFill>
              <a:srgbClr val="F7F5F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3" name="textruta 69">
              <a:extLst>
                <a:ext uri="{FF2B5EF4-FFF2-40B4-BE49-F238E27FC236}">
                  <a16:creationId xmlns:a16="http://schemas.microsoft.com/office/drawing/2014/main" id="{BF8F2470-F0F3-4522-8588-EE5575AB1359}"/>
                </a:ext>
              </a:extLst>
            </p:cNvPr>
            <p:cNvSpPr txBox="1"/>
            <p:nvPr/>
          </p:nvSpPr>
          <p:spPr>
            <a:xfrm>
              <a:off x="1527810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Kräm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7F5F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4 4 6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6713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93DFB-E971-458B-94EA-994ABB6FD7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5517331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EBC034D-9F92-1141-BD45-C6A44E0EC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892" y="811402"/>
            <a:ext cx="8078525" cy="1143000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6CC0D0D-D3D6-1E4D-9638-E406544942D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891" y="2035277"/>
            <a:ext cx="10470559" cy="4187723"/>
          </a:xfrm>
        </p:spPr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659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7DC52-011A-466F-9223-B1D0D0972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58092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2F7830-9892-472D-9338-AE9888EE65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24A059-758B-4A61-88D9-C0CF29C0B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343561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886941-ECD3-4FCA-B2A4-20405B79B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260749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9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75" y="646532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9EEF24-EC8F-45F0-A193-775C70EED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48780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9EEF24-EC8F-45F0-A193-775C70EED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5B5C5AB-5EDF-4E93-88E0-410400789EF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59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4B173A-0DAF-4864-BC7F-B3A157D8F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0059915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4B173A-0DAF-4864-BC7F-B3A157D8F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A6DA951-1F7D-4029-BD30-7EE209F42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69540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84BB5B-3821-45D0-9D69-902C39020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991682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84BB5B-3821-45D0-9D69-902C39020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2846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4B173A-0DAF-4864-BC7F-B3A157D8F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394994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4B173A-0DAF-4864-BC7F-B3A157D8F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A6DA951-1F7D-4029-BD30-7EE209F42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4809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42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84BB5B-3821-45D0-9D69-902C39020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274906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84BB5B-3821-45D0-9D69-902C39020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2740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4F1DBC-09D0-430E-86C4-9E5749B26780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9574610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4F1DBC-09D0-430E-86C4-9E5749B26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5778672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  <p:sldLayoutId id="2147484171" r:id="rId12"/>
    <p:sldLayoutId id="2147484172" r:id="rId13"/>
    <p:sldLayoutId id="2147484173" r:id="rId14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891" y="6324495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BB2673-FAAB-4F3F-900B-746E104E050F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98188369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BB2673-FAAB-4F3F-900B-746E104E0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BF99A41-F04C-4748-A8EB-826C7135B03D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4000" b="1" i="0" baseline="0" err="1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41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  <p:sldLayoutId id="2147484184" r:id="rId10"/>
    <p:sldLayoutId id="214748418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63" imgH="565" progId="TCLayout.ActiveDocument.1">
                  <p:embed/>
                </p:oleObj>
              </mc:Choice>
              <mc:Fallback>
                <p:oleObj name="think-cell Slide" r:id="rId4" imgW="563" imgH="56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C0A23C81-83ED-4A8F-8510-D7DB718A6094}"/>
              </a:ext>
            </a:extLst>
          </p:cNvPr>
          <p:cNvSpPr/>
          <p:nvPr/>
        </p:nvSpPr>
        <p:spPr>
          <a:xfrm>
            <a:off x="434969" y="1694258"/>
            <a:ext cx="11325631" cy="47969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sv-SE" sz="16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9496BA-AE47-42D6-8DEB-E97E45A8E7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8114D91-4524-0541-9CCE-86E92887A391}" type="slidenum">
              <a:rPr lang="sv-SE" smtClean="0"/>
              <a:pPr/>
              <a:t>1</a:t>
            </a:fld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9C4FC0-9269-43D1-A3D1-ECCD4C7A84D2}"/>
              </a:ext>
            </a:extLst>
          </p:cNvPr>
          <p:cNvSpPr txBox="1"/>
          <p:nvPr/>
        </p:nvSpPr>
        <p:spPr>
          <a:xfrm>
            <a:off x="434968" y="57726"/>
            <a:ext cx="11421672" cy="9643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rtlCol="0">
            <a:spAutoFit/>
          </a:bodyPr>
          <a:lstStyle/>
          <a:p>
            <a:pPr defTabSz="457200"/>
            <a:r>
              <a:rPr lang="sv-SE" sz="2800" b="1" dirty="0">
                <a:latin typeface="Arial" panose="020B0604020202020204" pitchFamily="34" charset="0"/>
                <a:ea typeface="Euclid Circular B Regular"/>
                <a:cs typeface="Arial" panose="020B0604020202020204" pitchFamily="34" charset="0"/>
                <a:sym typeface="Euclid Circular B Regular"/>
              </a:rPr>
              <a:t>Kapitel 3</a:t>
            </a:r>
            <a:r>
              <a:rPr lang="sv-SE" sz="2800" dirty="0">
                <a:latin typeface="Arial" panose="020B0604020202020204" pitchFamily="34" charset="0"/>
                <a:ea typeface="Euclid Circular B Regular"/>
                <a:cs typeface="Arial" panose="020B0604020202020204" pitchFamily="34" charset="0"/>
                <a:sym typeface="Euclid Circular B Regular"/>
              </a:rPr>
              <a:t> – Övning: </a:t>
            </a:r>
            <a:r>
              <a:rPr lang="sv-SE" sz="2800" dirty="0">
                <a:latin typeface="Arial" panose="020B0604020202020204" pitchFamily="34" charset="0"/>
                <a:cs typeface="Arial" panose="020B0604020202020204" pitchFamily="34" charset="0"/>
              </a:rPr>
              <a:t>Vad skulle få dig trygg att med att berätta om egen stress i en grupp?</a:t>
            </a:r>
            <a:endParaRPr lang="sv-SE" sz="2800" b="0" dirty="0">
              <a:latin typeface="Arial" panose="020B0604020202020204" pitchFamily="34" charset="0"/>
              <a:ea typeface="Euclid Circular B Regular"/>
              <a:cs typeface="Arial" panose="020B0604020202020204" pitchFamily="34" charset="0"/>
              <a:sym typeface="Euclid Circular B Regular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1CEF02-3340-4BFE-B9B8-CCB0145F02E8}"/>
              </a:ext>
            </a:extLst>
          </p:cNvPr>
          <p:cNvSpPr/>
          <p:nvPr/>
        </p:nvSpPr>
        <p:spPr>
          <a:xfrm>
            <a:off x="434969" y="1057418"/>
            <a:ext cx="11325631" cy="636840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sv-SE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ering av diskussion:</a:t>
            </a:r>
          </a:p>
        </p:txBody>
      </p:sp>
    </p:spTree>
    <p:extLst>
      <p:ext uri="{BB962C8B-B14F-4D97-AF65-F5344CB8AC3E}">
        <p14:creationId xmlns:p14="http://schemas.microsoft.com/office/powerpoint/2010/main" val="82352661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3.31703100000000050684E+00&quot;&gt;&lt;m_msothmcolidx val=&quot;0&quot;/&gt;&lt;m_rgb r=&quot;41&quot; g=&quot;23&quot; b=&quot;57&quot;/&gt;&lt;m_nBrightness val=&quot;0&quot;/&gt;&lt;/elem&gt;&lt;elem m_fUsage=&quot;1.00000000000000000000E+00&quot;&gt;&lt;m_msothmcolidx val=&quot;0&quot;/&gt;&lt;m_rgb r=&quot;FB&quot; g=&quot;FB&quot; b=&quot;04&quot;/&gt;&lt;m_nBrightness val=&quot;0&quot;/&gt;&lt;/elem&gt;&lt;elem m_fUsage=&quot;9.08764110000000013834E-01&quot;&gt;&lt;m_msothmcolidx val=&quot;0&quot;/&gt;&lt;m_rgb r=&quot;D5&quot; g=&quot;97&quot; b=&quot;F9&quot;/&gt;&lt;m_nBrightness val=&quot;0&quot;/&gt;&lt;/elem&gt;&lt;elem m_fUsage=&quot;9.00000000000000022204E-01&quot;&gt;&lt;m_msothmcolidx val=&quot;0&quot;/&gt;&lt;m_rgb r=&quot;FF&quot; g=&quot;E6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dK7zNv7ogXyxJDUgj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RqYq3oZdJkatuGO5q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2.xml><?xml version="1.0" encoding="utf-8"?>
<a:theme xmlns:a="http://schemas.openxmlformats.org/drawingml/2006/main" name="1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3.xml><?xml version="1.0" encoding="utf-8"?>
<a:theme xmlns:a="http://schemas.openxmlformats.org/drawingml/2006/main" name="1_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4.xml><?xml version="1.0" encoding="utf-8"?>
<a:theme xmlns:a="http://schemas.openxmlformats.org/drawingml/2006/main" name="2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5.xml><?xml version="1.0" encoding="utf-8"?>
<a:theme xmlns:a="http://schemas.openxmlformats.org/drawingml/2006/main" name="2_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6.xml><?xml version="1.0" encoding="utf-8"?>
<a:theme xmlns:a="http://schemas.openxmlformats.org/drawingml/2006/main" name="3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7.xml><?xml version="1.0" encoding="utf-8"?>
<a:theme xmlns:a="http://schemas.openxmlformats.org/drawingml/2006/main" name="Partsrådet tema 2021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tema 2021" id="{C395B2C0-01E6-44BE-8B23-1BF314574ED8}" vid="{FFFBE033-FAAD-4C3F-B6F5-B75F66FCE71B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A9D06379BE9E41860F2B3A070264C1" ma:contentTypeVersion="11" ma:contentTypeDescription="Skapa ett nytt dokument." ma:contentTypeScope="" ma:versionID="6b97cb59e0a9b9e96025daa03ac3b3ad">
  <xsd:schema xmlns:xsd="http://www.w3.org/2001/XMLSchema" xmlns:xs="http://www.w3.org/2001/XMLSchema" xmlns:p="http://schemas.microsoft.com/office/2006/metadata/properties" xmlns:ns2="2525e90a-6ab3-4331-a43c-150ec81afa4f" xmlns:ns3="63338ca6-ed78-4330-a5ed-8f48f3572d8e" targetNamespace="http://schemas.microsoft.com/office/2006/metadata/properties" ma:root="true" ma:fieldsID="a47229188c08b5d10c46e0cffa0e5a63" ns2:_="" ns3:_="">
    <xsd:import namespace="2525e90a-6ab3-4331-a43c-150ec81afa4f"/>
    <xsd:import namespace="63338ca6-ed78-4330-a5ed-8f48f3572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25e90a-6ab3-4331-a43c-150ec81afa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38ca6-ed78-4330-a5ed-8f48f3572d8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089472-B967-41C3-B840-3264337FDD42}">
  <ds:schemaRefs>
    <ds:schemaRef ds:uri="http://purl.org/dc/elements/1.1/"/>
    <ds:schemaRef ds:uri="http://schemas.microsoft.com/office/2006/metadata/properties"/>
    <ds:schemaRef ds:uri="2525e90a-6ab3-4331-a43c-150ec81afa4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63338ca6-ed78-4330-a5ed-8f48f3572d8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61B6553-0CB8-4093-9744-5FB3107DB380}">
  <ds:schemaRefs>
    <ds:schemaRef ds:uri="2525e90a-6ab3-4331-a43c-150ec81afa4f"/>
    <ds:schemaRef ds:uri="63338ca6-ed78-4330-a5ed-8f48f3572d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B678096-23FE-439F-9CEF-74D56670441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rt_pres_org_171114</Template>
  <TotalTime>0</TotalTime>
  <Words>102</Words>
  <Application>Microsoft Office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Calibri</vt:lpstr>
      <vt:lpstr>Euclid Circular A</vt:lpstr>
      <vt:lpstr>Euclid Circular B Regular</vt:lpstr>
      <vt:lpstr>Euclid Circular B SemiBold</vt:lpstr>
      <vt:lpstr>Helvetica Neue</vt:lpstr>
      <vt:lpstr>Helvetica Neue Medium</vt:lpstr>
      <vt:lpstr>Partsrådet v 2.0</vt:lpstr>
      <vt:lpstr>1_Svart text</vt:lpstr>
      <vt:lpstr>1_Partsrådet v 2.0</vt:lpstr>
      <vt:lpstr>2_Svart text</vt:lpstr>
      <vt:lpstr>2_Partsrådet v 2.0</vt:lpstr>
      <vt:lpstr>3_Svart text</vt:lpstr>
      <vt:lpstr>Partsrådet tema 2021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_FTT_Hållbart arbetsliv_Partsrådet.pptx</dc:title>
  <dc:subject/>
  <dc:creator>Cecilia Berninger</dc:creator>
  <cp:keywords/>
  <dc:description/>
  <cp:lastModifiedBy>Molly Larson</cp:lastModifiedBy>
  <cp:revision>1</cp:revision>
  <cp:lastPrinted>2020-01-30T08:25:39Z</cp:lastPrinted>
  <dcterms:created xsi:type="dcterms:W3CDTF">2017-11-23T21:09:38Z</dcterms:created>
  <dcterms:modified xsi:type="dcterms:W3CDTF">2021-12-09T13:08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A9D06379BE9E41860F2B3A070264C1</vt:lpwstr>
  </property>
</Properties>
</file>